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9"/>
  </p:notesMasterIdLst>
  <p:handoutMasterIdLst>
    <p:handoutMasterId r:id="rId10"/>
  </p:handoutMasterIdLst>
  <p:sldIdLst>
    <p:sldId id="261" r:id="rId5"/>
    <p:sldId id="260" r:id="rId6"/>
    <p:sldId id="259" r:id="rId7"/>
    <p:sldId id="258"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FF657B-86C7-394F-8A6F-59A619B2499E}" v="54" dt="2024-05-31T20:38:29.2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sada, Veronica" userId="2b2db282-b6ed-4dd0-80fd-c0cc83820869" providerId="ADAL" clId="{A6FF657B-86C7-394F-8A6F-59A619B2499E}"/>
    <pc:docChg chg="custSel addSld modSld sldOrd modMainMaster">
      <pc:chgData name="Posada, Veronica" userId="2b2db282-b6ed-4dd0-80fd-c0cc83820869" providerId="ADAL" clId="{A6FF657B-86C7-394F-8A6F-59A619B2499E}" dt="2024-05-31T20:38:29.227" v="53" actId="729"/>
      <pc:docMkLst>
        <pc:docMk/>
      </pc:docMkLst>
      <pc:sldChg chg="ord">
        <pc:chgData name="Posada, Veronica" userId="2b2db282-b6ed-4dd0-80fd-c0cc83820869" providerId="ADAL" clId="{A6FF657B-86C7-394F-8A6F-59A619B2499E}" dt="2024-05-31T20:38:25.607" v="52" actId="20578"/>
        <pc:sldMkLst>
          <pc:docMk/>
          <pc:sldMk cId="3974432548" sldId="259"/>
        </pc:sldMkLst>
      </pc:sldChg>
      <pc:sldChg chg="add mod modShow">
        <pc:chgData name="Posada, Veronica" userId="2b2db282-b6ed-4dd0-80fd-c0cc83820869" providerId="ADAL" clId="{A6FF657B-86C7-394F-8A6F-59A619B2499E}" dt="2024-05-31T20:38:29.227" v="53" actId="729"/>
        <pc:sldMkLst>
          <pc:docMk/>
          <pc:sldMk cId="275579698" sldId="260"/>
        </pc:sldMkLst>
      </pc:sldChg>
      <pc:sldChg chg="add">
        <pc:chgData name="Posada, Veronica" userId="2b2db282-b6ed-4dd0-80fd-c0cc83820869" providerId="ADAL" clId="{A6FF657B-86C7-394F-8A6F-59A619B2499E}" dt="2024-05-31T20:38:23.556" v="51"/>
        <pc:sldMkLst>
          <pc:docMk/>
          <pc:sldMk cId="3740111062" sldId="261"/>
        </pc:sldMkLst>
      </pc:sldChg>
      <pc:sldMasterChg chg="modSldLayout">
        <pc:chgData name="Posada, Veronica" userId="2b2db282-b6ed-4dd0-80fd-c0cc83820869" providerId="ADAL" clId="{A6FF657B-86C7-394F-8A6F-59A619B2499E}" dt="2024-05-31T20:37:48.036" v="49" actId="20577"/>
        <pc:sldMasterMkLst>
          <pc:docMk/>
          <pc:sldMasterMk cId="835336367" sldId="2147485117"/>
        </pc:sldMasterMkLst>
        <pc:sldLayoutChg chg="modSp mod">
          <pc:chgData name="Posada, Veronica" userId="2b2db282-b6ed-4dd0-80fd-c0cc83820869" providerId="ADAL" clId="{A6FF657B-86C7-394F-8A6F-59A619B2499E}" dt="2024-05-31T20:37:47.988" v="0" actId="20577"/>
          <pc:sldLayoutMkLst>
            <pc:docMk/>
            <pc:sldMasterMk cId="835336367" sldId="2147485117"/>
            <pc:sldLayoutMk cId="1657312068" sldId="2147485086"/>
          </pc:sldLayoutMkLst>
          <pc:spChg chg="mod">
            <ac:chgData name="Posada, Veronica" userId="2b2db282-b6ed-4dd0-80fd-c0cc83820869" providerId="ADAL" clId="{A6FF657B-86C7-394F-8A6F-59A619B2499E}" dt="2024-05-31T20:37:47.988" v="0" actId="20577"/>
            <ac:spMkLst>
              <pc:docMk/>
              <pc:sldMasterMk cId="835336367" sldId="2147485117"/>
              <pc:sldLayoutMk cId="1657312068" sldId="2147485086"/>
              <ac:spMk id="6" creationId="{00000000-0000-0000-0000-000000000000}"/>
            </ac:spMkLst>
          </pc:spChg>
        </pc:sldLayoutChg>
        <pc:sldLayoutChg chg="modSp mod">
          <pc:chgData name="Posada, Veronica" userId="2b2db282-b6ed-4dd0-80fd-c0cc83820869" providerId="ADAL" clId="{A6FF657B-86C7-394F-8A6F-59A619B2499E}" dt="2024-05-31T20:37:47.995" v="6" actId="20577"/>
          <pc:sldLayoutMkLst>
            <pc:docMk/>
            <pc:sldMasterMk cId="835336367" sldId="2147485117"/>
            <pc:sldLayoutMk cId="1923524179" sldId="2147485087"/>
          </pc:sldLayoutMkLst>
          <pc:spChg chg="mod">
            <ac:chgData name="Posada, Veronica" userId="2b2db282-b6ed-4dd0-80fd-c0cc83820869" providerId="ADAL" clId="{A6FF657B-86C7-394F-8A6F-59A619B2499E}" dt="2024-05-31T20:37:47.995" v="6" actId="20577"/>
            <ac:spMkLst>
              <pc:docMk/>
              <pc:sldMasterMk cId="835336367" sldId="2147485117"/>
              <pc:sldLayoutMk cId="1923524179" sldId="2147485087"/>
              <ac:spMk id="17" creationId="{00000000-0000-0000-0000-000000000000}"/>
            </ac:spMkLst>
          </pc:spChg>
        </pc:sldLayoutChg>
        <pc:sldLayoutChg chg="modSp mod">
          <pc:chgData name="Posada, Veronica" userId="2b2db282-b6ed-4dd0-80fd-c0cc83820869" providerId="ADAL" clId="{A6FF657B-86C7-394F-8A6F-59A619B2499E}" dt="2024-05-31T20:37:48.007" v="18" actId="20577"/>
          <pc:sldLayoutMkLst>
            <pc:docMk/>
            <pc:sldMasterMk cId="835336367" sldId="2147485117"/>
            <pc:sldLayoutMk cId="1830073930" sldId="2147485090"/>
          </pc:sldLayoutMkLst>
          <pc:spChg chg="mod">
            <ac:chgData name="Posada, Veronica" userId="2b2db282-b6ed-4dd0-80fd-c0cc83820869" providerId="ADAL" clId="{A6FF657B-86C7-394F-8A6F-59A619B2499E}" dt="2024-05-31T20:37:48.007" v="18" actId="20577"/>
            <ac:spMkLst>
              <pc:docMk/>
              <pc:sldMasterMk cId="835336367" sldId="2147485117"/>
              <pc:sldLayoutMk cId="1830073930" sldId="2147485090"/>
              <ac:spMk id="8" creationId="{00000000-0000-0000-0000-000000000000}"/>
            </ac:spMkLst>
          </pc:spChg>
        </pc:sldLayoutChg>
        <pc:sldLayoutChg chg="modSp mod">
          <pc:chgData name="Posada, Veronica" userId="2b2db282-b6ed-4dd0-80fd-c0cc83820869" providerId="ADAL" clId="{A6FF657B-86C7-394F-8A6F-59A619B2499E}" dt="2024-05-31T20:37:48.008" v="19" actId="20577"/>
          <pc:sldLayoutMkLst>
            <pc:docMk/>
            <pc:sldMasterMk cId="835336367" sldId="2147485117"/>
            <pc:sldLayoutMk cId="3014252063" sldId="2147485091"/>
          </pc:sldLayoutMkLst>
          <pc:spChg chg="mod">
            <ac:chgData name="Posada, Veronica" userId="2b2db282-b6ed-4dd0-80fd-c0cc83820869" providerId="ADAL" clId="{A6FF657B-86C7-394F-8A6F-59A619B2499E}" dt="2024-05-31T20:37:48.008" v="19" actId="20577"/>
            <ac:spMkLst>
              <pc:docMk/>
              <pc:sldMasterMk cId="835336367" sldId="2147485117"/>
              <pc:sldLayoutMk cId="3014252063" sldId="2147485091"/>
              <ac:spMk id="6" creationId="{00000000-0000-0000-0000-000000000000}"/>
            </ac:spMkLst>
          </pc:spChg>
        </pc:sldLayoutChg>
        <pc:sldLayoutChg chg="modSp mod">
          <pc:chgData name="Posada, Veronica" userId="2b2db282-b6ed-4dd0-80fd-c0cc83820869" providerId="ADAL" clId="{A6FF657B-86C7-394F-8A6F-59A619B2499E}" dt="2024-05-31T20:37:48.009" v="20" actId="20577"/>
          <pc:sldLayoutMkLst>
            <pc:docMk/>
            <pc:sldMasterMk cId="835336367" sldId="2147485117"/>
            <pc:sldLayoutMk cId="2902310996" sldId="2147485092"/>
          </pc:sldLayoutMkLst>
          <pc:spChg chg="mod">
            <ac:chgData name="Posada, Veronica" userId="2b2db282-b6ed-4dd0-80fd-c0cc83820869" providerId="ADAL" clId="{A6FF657B-86C7-394F-8A6F-59A619B2499E}" dt="2024-05-31T20:37:48.009" v="20" actId="20577"/>
            <ac:spMkLst>
              <pc:docMk/>
              <pc:sldMasterMk cId="835336367" sldId="2147485117"/>
              <pc:sldLayoutMk cId="2902310996" sldId="2147485092"/>
              <ac:spMk id="8" creationId="{00000000-0000-0000-0000-000000000000}"/>
            </ac:spMkLst>
          </pc:spChg>
        </pc:sldLayoutChg>
        <pc:sldLayoutChg chg="modSp mod">
          <pc:chgData name="Posada, Veronica" userId="2b2db282-b6ed-4dd0-80fd-c0cc83820869" providerId="ADAL" clId="{A6FF657B-86C7-394F-8A6F-59A619B2499E}" dt="2024-05-31T20:37:48.010" v="21" actId="20577"/>
          <pc:sldLayoutMkLst>
            <pc:docMk/>
            <pc:sldMasterMk cId="835336367" sldId="2147485117"/>
            <pc:sldLayoutMk cId="824906963" sldId="2147485093"/>
          </pc:sldLayoutMkLst>
          <pc:spChg chg="mod">
            <ac:chgData name="Posada, Veronica" userId="2b2db282-b6ed-4dd0-80fd-c0cc83820869" providerId="ADAL" clId="{A6FF657B-86C7-394F-8A6F-59A619B2499E}" dt="2024-05-31T20:37:48.010" v="21" actId="20577"/>
            <ac:spMkLst>
              <pc:docMk/>
              <pc:sldMasterMk cId="835336367" sldId="2147485117"/>
              <pc:sldLayoutMk cId="824906963" sldId="2147485093"/>
              <ac:spMk id="11" creationId="{00000000-0000-0000-0000-000000000000}"/>
            </ac:spMkLst>
          </pc:spChg>
        </pc:sldLayoutChg>
        <pc:sldLayoutChg chg="modSp mod">
          <pc:chgData name="Posada, Veronica" userId="2b2db282-b6ed-4dd0-80fd-c0cc83820869" providerId="ADAL" clId="{A6FF657B-86C7-394F-8A6F-59A619B2499E}" dt="2024-05-31T20:37:48.006" v="17" actId="20577"/>
          <pc:sldLayoutMkLst>
            <pc:docMk/>
            <pc:sldMasterMk cId="835336367" sldId="2147485117"/>
            <pc:sldLayoutMk cId="3379662676" sldId="2147485107"/>
          </pc:sldLayoutMkLst>
          <pc:spChg chg="mod">
            <ac:chgData name="Posada, Veronica" userId="2b2db282-b6ed-4dd0-80fd-c0cc83820869" providerId="ADAL" clId="{A6FF657B-86C7-394F-8A6F-59A619B2499E}" dt="2024-05-31T20:37:48.006" v="17" actId="20577"/>
            <ac:spMkLst>
              <pc:docMk/>
              <pc:sldMasterMk cId="835336367" sldId="2147485117"/>
              <pc:sldLayoutMk cId="3379662676" sldId="2147485107"/>
              <ac:spMk id="10" creationId="{00000000-0000-0000-0000-000000000000}"/>
            </ac:spMkLst>
          </pc:spChg>
        </pc:sldLayoutChg>
        <pc:sldLayoutChg chg="modSp mod">
          <pc:chgData name="Posada, Veronica" userId="2b2db282-b6ed-4dd0-80fd-c0cc83820869" providerId="ADAL" clId="{A6FF657B-86C7-394F-8A6F-59A619B2499E}" dt="2024-05-31T20:37:48.005" v="16" actId="20577"/>
          <pc:sldLayoutMkLst>
            <pc:docMk/>
            <pc:sldMasterMk cId="835336367" sldId="2147485117"/>
            <pc:sldLayoutMk cId="270558041" sldId="2147485108"/>
          </pc:sldLayoutMkLst>
          <pc:spChg chg="mod">
            <ac:chgData name="Posada, Veronica" userId="2b2db282-b6ed-4dd0-80fd-c0cc83820869" providerId="ADAL" clId="{A6FF657B-86C7-394F-8A6F-59A619B2499E}" dt="2024-05-31T20:37:48.005" v="16" actId="20577"/>
            <ac:spMkLst>
              <pc:docMk/>
              <pc:sldMasterMk cId="835336367" sldId="2147485117"/>
              <pc:sldLayoutMk cId="270558041" sldId="2147485108"/>
              <ac:spMk id="10" creationId="{00000000-0000-0000-0000-000000000000}"/>
            </ac:spMkLst>
          </pc:spChg>
        </pc:sldLayoutChg>
        <pc:sldLayoutChg chg="modSp mod">
          <pc:chgData name="Posada, Veronica" userId="2b2db282-b6ed-4dd0-80fd-c0cc83820869" providerId="ADAL" clId="{A6FF657B-86C7-394F-8A6F-59A619B2499E}" dt="2024-05-31T20:37:47.999" v="10" actId="20577"/>
          <pc:sldLayoutMkLst>
            <pc:docMk/>
            <pc:sldMasterMk cId="835336367" sldId="2147485117"/>
            <pc:sldLayoutMk cId="2009208218" sldId="2147485109"/>
          </pc:sldLayoutMkLst>
          <pc:spChg chg="mod">
            <ac:chgData name="Posada, Veronica" userId="2b2db282-b6ed-4dd0-80fd-c0cc83820869" providerId="ADAL" clId="{A6FF657B-86C7-394F-8A6F-59A619B2499E}" dt="2024-05-31T20:37:47.999" v="10" actId="20577"/>
            <ac:spMkLst>
              <pc:docMk/>
              <pc:sldMasterMk cId="835336367" sldId="2147485117"/>
              <pc:sldLayoutMk cId="2009208218" sldId="2147485109"/>
              <ac:spMk id="10" creationId="{00000000-0000-0000-0000-000000000000}"/>
            </ac:spMkLst>
          </pc:spChg>
        </pc:sldLayoutChg>
        <pc:sldLayoutChg chg="modSp mod">
          <pc:chgData name="Posada, Veronica" userId="2b2db282-b6ed-4dd0-80fd-c0cc83820869" providerId="ADAL" clId="{A6FF657B-86C7-394F-8A6F-59A619B2499E}" dt="2024-05-31T20:37:48.001" v="12" actId="20577"/>
          <pc:sldLayoutMkLst>
            <pc:docMk/>
            <pc:sldMasterMk cId="835336367" sldId="2147485117"/>
            <pc:sldLayoutMk cId="3692871760" sldId="2147485110"/>
          </pc:sldLayoutMkLst>
          <pc:spChg chg="mod">
            <ac:chgData name="Posada, Veronica" userId="2b2db282-b6ed-4dd0-80fd-c0cc83820869" providerId="ADAL" clId="{A6FF657B-86C7-394F-8A6F-59A619B2499E}" dt="2024-05-31T20:37:48.001" v="12" actId="20577"/>
            <ac:spMkLst>
              <pc:docMk/>
              <pc:sldMasterMk cId="835336367" sldId="2147485117"/>
              <pc:sldLayoutMk cId="3692871760" sldId="2147485110"/>
              <ac:spMk id="10" creationId="{00000000-0000-0000-0000-000000000000}"/>
            </ac:spMkLst>
          </pc:spChg>
        </pc:sldLayoutChg>
        <pc:sldLayoutChg chg="modSp mod">
          <pc:chgData name="Posada, Veronica" userId="2b2db282-b6ed-4dd0-80fd-c0cc83820869" providerId="ADAL" clId="{A6FF657B-86C7-394F-8A6F-59A619B2499E}" dt="2024-05-31T20:37:47.996" v="7" actId="20577"/>
          <pc:sldLayoutMkLst>
            <pc:docMk/>
            <pc:sldMasterMk cId="835336367" sldId="2147485117"/>
            <pc:sldLayoutMk cId="632809067" sldId="2147485112"/>
          </pc:sldLayoutMkLst>
          <pc:spChg chg="mod">
            <ac:chgData name="Posada, Veronica" userId="2b2db282-b6ed-4dd0-80fd-c0cc83820869" providerId="ADAL" clId="{A6FF657B-86C7-394F-8A6F-59A619B2499E}" dt="2024-05-31T20:37:47.996" v="7" actId="20577"/>
            <ac:spMkLst>
              <pc:docMk/>
              <pc:sldMasterMk cId="835336367" sldId="2147485117"/>
              <pc:sldLayoutMk cId="632809067" sldId="2147485112"/>
              <ac:spMk id="16" creationId="{00000000-0000-0000-0000-000000000000}"/>
            </ac:spMkLst>
          </pc:spChg>
        </pc:sldLayoutChg>
        <pc:sldLayoutChg chg="modSp mod">
          <pc:chgData name="Posada, Veronica" userId="2b2db282-b6ed-4dd0-80fd-c0cc83820869" providerId="ADAL" clId="{A6FF657B-86C7-394F-8A6F-59A619B2499E}" dt="2024-05-31T20:37:47.991" v="2" actId="20577"/>
          <pc:sldLayoutMkLst>
            <pc:docMk/>
            <pc:sldMasterMk cId="835336367" sldId="2147485117"/>
            <pc:sldLayoutMk cId="712323402" sldId="2147485113"/>
          </pc:sldLayoutMkLst>
          <pc:spChg chg="mod">
            <ac:chgData name="Posada, Veronica" userId="2b2db282-b6ed-4dd0-80fd-c0cc83820869" providerId="ADAL" clId="{A6FF657B-86C7-394F-8A6F-59A619B2499E}" dt="2024-05-31T20:37:47.991" v="2" actId="20577"/>
            <ac:spMkLst>
              <pc:docMk/>
              <pc:sldMasterMk cId="835336367" sldId="2147485117"/>
              <pc:sldLayoutMk cId="712323402" sldId="2147485113"/>
              <ac:spMk id="9" creationId="{00000000-0000-0000-0000-000000000000}"/>
            </ac:spMkLst>
          </pc:spChg>
        </pc:sldLayoutChg>
        <pc:sldLayoutChg chg="modSp mod">
          <pc:chgData name="Posada, Veronica" userId="2b2db282-b6ed-4dd0-80fd-c0cc83820869" providerId="ADAL" clId="{A6FF657B-86C7-394F-8A6F-59A619B2499E}" dt="2024-05-31T20:37:48.012" v="23" actId="20577"/>
          <pc:sldLayoutMkLst>
            <pc:docMk/>
            <pc:sldMasterMk cId="835336367" sldId="2147485117"/>
            <pc:sldLayoutMk cId="2220698565" sldId="2147485119"/>
          </pc:sldLayoutMkLst>
          <pc:spChg chg="mod">
            <ac:chgData name="Posada, Veronica" userId="2b2db282-b6ed-4dd0-80fd-c0cc83820869" providerId="ADAL" clId="{A6FF657B-86C7-394F-8A6F-59A619B2499E}" dt="2024-05-31T20:37:48.012" v="23" actId="20577"/>
            <ac:spMkLst>
              <pc:docMk/>
              <pc:sldMasterMk cId="835336367" sldId="2147485117"/>
              <pc:sldLayoutMk cId="2220698565" sldId="2147485119"/>
              <ac:spMk id="10" creationId="{00000000-0000-0000-0000-000000000000}"/>
            </ac:spMkLst>
          </pc:spChg>
        </pc:sldLayoutChg>
        <pc:sldLayoutChg chg="modSp mod">
          <pc:chgData name="Posada, Veronica" userId="2b2db282-b6ed-4dd0-80fd-c0cc83820869" providerId="ADAL" clId="{A6FF657B-86C7-394F-8A6F-59A619B2499E}" dt="2024-05-31T20:37:48.013" v="25" actId="20577"/>
          <pc:sldLayoutMkLst>
            <pc:docMk/>
            <pc:sldMasterMk cId="835336367" sldId="2147485117"/>
            <pc:sldLayoutMk cId="2819904726" sldId="2147485120"/>
          </pc:sldLayoutMkLst>
          <pc:spChg chg="mod">
            <ac:chgData name="Posada, Veronica" userId="2b2db282-b6ed-4dd0-80fd-c0cc83820869" providerId="ADAL" clId="{A6FF657B-86C7-394F-8A6F-59A619B2499E}" dt="2024-05-31T20:37:48.013" v="25" actId="20577"/>
            <ac:spMkLst>
              <pc:docMk/>
              <pc:sldMasterMk cId="835336367" sldId="2147485117"/>
              <pc:sldLayoutMk cId="2819904726" sldId="2147485120"/>
              <ac:spMk id="10" creationId="{00000000-0000-0000-0000-000000000000}"/>
            </ac:spMkLst>
          </pc:spChg>
        </pc:sldLayoutChg>
        <pc:sldLayoutChg chg="modSp mod">
          <pc:chgData name="Posada, Veronica" userId="2b2db282-b6ed-4dd0-80fd-c0cc83820869" providerId="ADAL" clId="{A6FF657B-86C7-394F-8A6F-59A619B2499E}" dt="2024-05-31T20:37:48.018" v="30" actId="20577"/>
          <pc:sldLayoutMkLst>
            <pc:docMk/>
            <pc:sldMasterMk cId="835336367" sldId="2147485117"/>
            <pc:sldLayoutMk cId="1930165987" sldId="2147485122"/>
          </pc:sldLayoutMkLst>
          <pc:spChg chg="mod">
            <ac:chgData name="Posada, Veronica" userId="2b2db282-b6ed-4dd0-80fd-c0cc83820869" providerId="ADAL" clId="{A6FF657B-86C7-394F-8A6F-59A619B2499E}" dt="2024-05-31T20:37:48.018" v="30" actId="20577"/>
            <ac:spMkLst>
              <pc:docMk/>
              <pc:sldMasterMk cId="835336367" sldId="2147485117"/>
              <pc:sldLayoutMk cId="1930165987" sldId="2147485122"/>
              <ac:spMk id="18" creationId="{00000000-0000-0000-0000-000000000000}"/>
            </ac:spMkLst>
          </pc:spChg>
        </pc:sldLayoutChg>
        <pc:sldLayoutChg chg="modSp mod">
          <pc:chgData name="Posada, Veronica" userId="2b2db282-b6ed-4dd0-80fd-c0cc83820869" providerId="ADAL" clId="{A6FF657B-86C7-394F-8A6F-59A619B2499E}" dt="2024-05-31T20:37:48.019" v="31" actId="20577"/>
          <pc:sldLayoutMkLst>
            <pc:docMk/>
            <pc:sldMasterMk cId="835336367" sldId="2147485117"/>
            <pc:sldLayoutMk cId="3290578961" sldId="2147485123"/>
          </pc:sldLayoutMkLst>
          <pc:spChg chg="mod">
            <ac:chgData name="Posada, Veronica" userId="2b2db282-b6ed-4dd0-80fd-c0cc83820869" providerId="ADAL" clId="{A6FF657B-86C7-394F-8A6F-59A619B2499E}" dt="2024-05-31T20:37:48.019" v="31" actId="20577"/>
            <ac:spMkLst>
              <pc:docMk/>
              <pc:sldMasterMk cId="835336367" sldId="2147485117"/>
              <pc:sldLayoutMk cId="3290578961" sldId="2147485123"/>
              <ac:spMk id="16" creationId="{00000000-0000-0000-0000-000000000000}"/>
            </ac:spMkLst>
          </pc:spChg>
        </pc:sldLayoutChg>
        <pc:sldLayoutChg chg="modSp mod">
          <pc:chgData name="Posada, Veronica" userId="2b2db282-b6ed-4dd0-80fd-c0cc83820869" providerId="ADAL" clId="{A6FF657B-86C7-394F-8A6F-59A619B2499E}" dt="2024-05-31T20:37:48.023" v="36" actId="20577"/>
          <pc:sldLayoutMkLst>
            <pc:docMk/>
            <pc:sldMasterMk cId="835336367" sldId="2147485117"/>
            <pc:sldLayoutMk cId="569809541" sldId="2147485126"/>
          </pc:sldLayoutMkLst>
          <pc:spChg chg="mod">
            <ac:chgData name="Posada, Veronica" userId="2b2db282-b6ed-4dd0-80fd-c0cc83820869" providerId="ADAL" clId="{A6FF657B-86C7-394F-8A6F-59A619B2499E}" dt="2024-05-31T20:37:48.023" v="36" actId="20577"/>
            <ac:spMkLst>
              <pc:docMk/>
              <pc:sldMasterMk cId="835336367" sldId="2147485117"/>
              <pc:sldLayoutMk cId="569809541" sldId="2147485126"/>
              <ac:spMk id="12" creationId="{00000000-0000-0000-0000-000000000000}"/>
            </ac:spMkLst>
          </pc:spChg>
        </pc:sldLayoutChg>
        <pc:sldLayoutChg chg="modSp mod">
          <pc:chgData name="Posada, Veronica" userId="2b2db282-b6ed-4dd0-80fd-c0cc83820869" providerId="ADAL" clId="{A6FF657B-86C7-394F-8A6F-59A619B2499E}" dt="2024-05-31T20:37:48.021" v="34" actId="20577"/>
          <pc:sldLayoutMkLst>
            <pc:docMk/>
            <pc:sldMasterMk cId="835336367" sldId="2147485117"/>
            <pc:sldLayoutMk cId="2037699224" sldId="2147485127"/>
          </pc:sldLayoutMkLst>
          <pc:spChg chg="mod">
            <ac:chgData name="Posada, Veronica" userId="2b2db282-b6ed-4dd0-80fd-c0cc83820869" providerId="ADAL" clId="{A6FF657B-86C7-394F-8A6F-59A619B2499E}" dt="2024-05-31T20:37:48.021" v="34" actId="20577"/>
            <ac:spMkLst>
              <pc:docMk/>
              <pc:sldMasterMk cId="835336367" sldId="2147485117"/>
              <pc:sldLayoutMk cId="2037699224" sldId="2147485127"/>
              <ac:spMk id="12" creationId="{00000000-0000-0000-0000-000000000000}"/>
            </ac:spMkLst>
          </pc:spChg>
        </pc:sldLayoutChg>
        <pc:sldLayoutChg chg="modSp mod">
          <pc:chgData name="Posada, Veronica" userId="2b2db282-b6ed-4dd0-80fd-c0cc83820869" providerId="ADAL" clId="{A6FF657B-86C7-394F-8A6F-59A619B2499E}" dt="2024-05-31T20:37:48.027" v="40" actId="20577"/>
          <pc:sldLayoutMkLst>
            <pc:docMk/>
            <pc:sldMasterMk cId="835336367" sldId="2147485117"/>
            <pc:sldLayoutMk cId="585075850" sldId="2147485128"/>
          </pc:sldLayoutMkLst>
          <pc:spChg chg="mod">
            <ac:chgData name="Posada, Veronica" userId="2b2db282-b6ed-4dd0-80fd-c0cc83820869" providerId="ADAL" clId="{A6FF657B-86C7-394F-8A6F-59A619B2499E}" dt="2024-05-31T20:37:48.027" v="40" actId="20577"/>
            <ac:spMkLst>
              <pc:docMk/>
              <pc:sldMasterMk cId="835336367" sldId="2147485117"/>
              <pc:sldLayoutMk cId="585075850" sldId="2147485128"/>
              <ac:spMk id="8" creationId="{00000000-0000-0000-0000-000000000000}"/>
            </ac:spMkLst>
          </pc:spChg>
        </pc:sldLayoutChg>
        <pc:sldLayoutChg chg="modSp mod">
          <pc:chgData name="Posada, Veronica" userId="2b2db282-b6ed-4dd0-80fd-c0cc83820869" providerId="ADAL" clId="{A6FF657B-86C7-394F-8A6F-59A619B2499E}" dt="2024-05-31T20:37:48.028" v="41" actId="20577"/>
          <pc:sldLayoutMkLst>
            <pc:docMk/>
            <pc:sldMasterMk cId="835336367" sldId="2147485117"/>
            <pc:sldLayoutMk cId="3936192106" sldId="2147485129"/>
          </pc:sldLayoutMkLst>
          <pc:spChg chg="mod">
            <ac:chgData name="Posada, Veronica" userId="2b2db282-b6ed-4dd0-80fd-c0cc83820869" providerId="ADAL" clId="{A6FF657B-86C7-394F-8A6F-59A619B2499E}" dt="2024-05-31T20:37:48.028" v="41" actId="20577"/>
            <ac:spMkLst>
              <pc:docMk/>
              <pc:sldMasterMk cId="835336367" sldId="2147485117"/>
              <pc:sldLayoutMk cId="3936192106" sldId="2147485129"/>
              <ac:spMk id="9" creationId="{00000000-0000-0000-0000-000000000000}"/>
            </ac:spMkLst>
          </pc:spChg>
        </pc:sldLayoutChg>
        <pc:sldLayoutChg chg="modSp mod">
          <pc:chgData name="Posada, Veronica" userId="2b2db282-b6ed-4dd0-80fd-c0cc83820869" providerId="ADAL" clId="{A6FF657B-86C7-394F-8A6F-59A619B2499E}" dt="2024-05-31T20:37:48.029" v="42" actId="20577"/>
          <pc:sldLayoutMkLst>
            <pc:docMk/>
            <pc:sldMasterMk cId="835336367" sldId="2147485117"/>
            <pc:sldLayoutMk cId="2548375537" sldId="2147485131"/>
          </pc:sldLayoutMkLst>
          <pc:spChg chg="mod">
            <ac:chgData name="Posada, Veronica" userId="2b2db282-b6ed-4dd0-80fd-c0cc83820869" providerId="ADAL" clId="{A6FF657B-86C7-394F-8A6F-59A619B2499E}" dt="2024-05-31T20:37:48.029" v="42" actId="20577"/>
            <ac:spMkLst>
              <pc:docMk/>
              <pc:sldMasterMk cId="835336367" sldId="2147485117"/>
              <pc:sldLayoutMk cId="2548375537" sldId="2147485131"/>
              <ac:spMk id="8" creationId="{00000000-0000-0000-0000-000000000000}"/>
            </ac:spMkLst>
          </pc:spChg>
        </pc:sldLayoutChg>
        <pc:sldLayoutChg chg="modSp mod">
          <pc:chgData name="Posada, Veronica" userId="2b2db282-b6ed-4dd0-80fd-c0cc83820869" providerId="ADAL" clId="{A6FF657B-86C7-394F-8A6F-59A619B2499E}" dt="2024-05-31T20:37:48.030" v="44" actId="20577"/>
          <pc:sldLayoutMkLst>
            <pc:docMk/>
            <pc:sldMasterMk cId="835336367" sldId="2147485117"/>
            <pc:sldLayoutMk cId="1640827684" sldId="2147485133"/>
          </pc:sldLayoutMkLst>
          <pc:spChg chg="mod">
            <ac:chgData name="Posada, Veronica" userId="2b2db282-b6ed-4dd0-80fd-c0cc83820869" providerId="ADAL" clId="{A6FF657B-86C7-394F-8A6F-59A619B2499E}" dt="2024-05-31T20:37:48.030" v="44" actId="20577"/>
            <ac:spMkLst>
              <pc:docMk/>
              <pc:sldMasterMk cId="835336367" sldId="2147485117"/>
              <pc:sldLayoutMk cId="1640827684" sldId="2147485133"/>
              <ac:spMk id="8" creationId="{00000000-0000-0000-0000-000000000000}"/>
            </ac:spMkLst>
          </pc:spChg>
        </pc:sldLayoutChg>
        <pc:sldLayoutChg chg="modSp mod">
          <pc:chgData name="Posada, Veronica" userId="2b2db282-b6ed-4dd0-80fd-c0cc83820869" providerId="ADAL" clId="{A6FF657B-86C7-394F-8A6F-59A619B2499E}" dt="2024-05-31T20:37:48.032" v="46" actId="20577"/>
          <pc:sldLayoutMkLst>
            <pc:docMk/>
            <pc:sldMasterMk cId="835336367" sldId="2147485117"/>
            <pc:sldLayoutMk cId="2413221188" sldId="2147485134"/>
          </pc:sldLayoutMkLst>
          <pc:spChg chg="mod">
            <ac:chgData name="Posada, Veronica" userId="2b2db282-b6ed-4dd0-80fd-c0cc83820869" providerId="ADAL" clId="{A6FF657B-86C7-394F-8A6F-59A619B2499E}" dt="2024-05-31T20:37:48.032" v="46" actId="20577"/>
            <ac:spMkLst>
              <pc:docMk/>
              <pc:sldMasterMk cId="835336367" sldId="2147485117"/>
              <pc:sldLayoutMk cId="2413221188" sldId="2147485134"/>
              <ac:spMk id="11" creationId="{00000000-0000-0000-0000-000000000000}"/>
            </ac:spMkLst>
          </pc:spChg>
        </pc:sldLayoutChg>
        <pc:sldLayoutChg chg="modSp mod">
          <pc:chgData name="Posada, Veronica" userId="2b2db282-b6ed-4dd0-80fd-c0cc83820869" providerId="ADAL" clId="{A6FF657B-86C7-394F-8A6F-59A619B2499E}" dt="2024-05-31T20:37:48.013" v="24" actId="20577"/>
          <pc:sldLayoutMkLst>
            <pc:docMk/>
            <pc:sldMasterMk cId="835336367" sldId="2147485117"/>
            <pc:sldLayoutMk cId="3900753081" sldId="2147485137"/>
          </pc:sldLayoutMkLst>
          <pc:spChg chg="mod">
            <ac:chgData name="Posada, Veronica" userId="2b2db282-b6ed-4dd0-80fd-c0cc83820869" providerId="ADAL" clId="{A6FF657B-86C7-394F-8A6F-59A619B2499E}" dt="2024-05-31T20:37:48.013" v="24" actId="20577"/>
            <ac:spMkLst>
              <pc:docMk/>
              <pc:sldMasterMk cId="835336367" sldId="2147485117"/>
              <pc:sldLayoutMk cId="3900753081" sldId="2147485137"/>
              <ac:spMk id="10" creationId="{00000000-0000-0000-0000-000000000000}"/>
            </ac:spMkLst>
          </pc:spChg>
        </pc:sldLayoutChg>
        <pc:sldLayoutChg chg="modSp mod">
          <pc:chgData name="Posada, Veronica" userId="2b2db282-b6ed-4dd0-80fd-c0cc83820869" providerId="ADAL" clId="{A6FF657B-86C7-394F-8A6F-59A619B2499E}" dt="2024-05-31T20:37:48.016" v="28" actId="20577"/>
          <pc:sldLayoutMkLst>
            <pc:docMk/>
            <pc:sldMasterMk cId="835336367" sldId="2147485117"/>
            <pc:sldLayoutMk cId="3793922547" sldId="2147485139"/>
          </pc:sldLayoutMkLst>
          <pc:spChg chg="mod">
            <ac:chgData name="Posada, Veronica" userId="2b2db282-b6ed-4dd0-80fd-c0cc83820869" providerId="ADAL" clId="{A6FF657B-86C7-394F-8A6F-59A619B2499E}" dt="2024-05-31T20:37:48.016" v="28" actId="20577"/>
            <ac:spMkLst>
              <pc:docMk/>
              <pc:sldMasterMk cId="835336367" sldId="2147485117"/>
              <pc:sldLayoutMk cId="3793922547" sldId="2147485139"/>
              <ac:spMk id="12" creationId="{00000000-0000-0000-0000-000000000000}"/>
            </ac:spMkLst>
          </pc:spChg>
        </pc:sldLayoutChg>
        <pc:sldLayoutChg chg="modSp mod">
          <pc:chgData name="Posada, Veronica" userId="2b2db282-b6ed-4dd0-80fd-c0cc83820869" providerId="ADAL" clId="{A6FF657B-86C7-394F-8A6F-59A619B2499E}" dt="2024-05-31T20:37:48.017" v="29" actId="20577"/>
          <pc:sldLayoutMkLst>
            <pc:docMk/>
            <pc:sldMasterMk cId="835336367" sldId="2147485117"/>
            <pc:sldLayoutMk cId="3060452071" sldId="2147485140"/>
          </pc:sldLayoutMkLst>
          <pc:spChg chg="mod">
            <ac:chgData name="Posada, Veronica" userId="2b2db282-b6ed-4dd0-80fd-c0cc83820869" providerId="ADAL" clId="{A6FF657B-86C7-394F-8A6F-59A619B2499E}" dt="2024-05-31T20:37:48.017" v="29" actId="20577"/>
            <ac:spMkLst>
              <pc:docMk/>
              <pc:sldMasterMk cId="835336367" sldId="2147485117"/>
              <pc:sldLayoutMk cId="3060452071" sldId="2147485140"/>
              <ac:spMk id="11" creationId="{00000000-0000-0000-0000-000000000000}"/>
            </ac:spMkLst>
          </pc:spChg>
        </pc:sldLayoutChg>
        <pc:sldLayoutChg chg="modSp mod">
          <pc:chgData name="Posada, Veronica" userId="2b2db282-b6ed-4dd0-80fd-c0cc83820869" providerId="ADAL" clId="{A6FF657B-86C7-394F-8A6F-59A619B2499E}" dt="2024-05-31T20:37:48.014" v="26" actId="20577"/>
          <pc:sldLayoutMkLst>
            <pc:docMk/>
            <pc:sldMasterMk cId="835336367" sldId="2147485117"/>
            <pc:sldLayoutMk cId="2522366464" sldId="2147485141"/>
          </pc:sldLayoutMkLst>
          <pc:spChg chg="mod">
            <ac:chgData name="Posada, Veronica" userId="2b2db282-b6ed-4dd0-80fd-c0cc83820869" providerId="ADAL" clId="{A6FF657B-86C7-394F-8A6F-59A619B2499E}" dt="2024-05-31T20:37:48.014" v="26" actId="20577"/>
            <ac:spMkLst>
              <pc:docMk/>
              <pc:sldMasterMk cId="835336367" sldId="2147485117"/>
              <pc:sldLayoutMk cId="2522366464" sldId="2147485141"/>
              <ac:spMk id="12" creationId="{00000000-0000-0000-0000-000000000000}"/>
            </ac:spMkLst>
          </pc:spChg>
        </pc:sldLayoutChg>
        <pc:sldLayoutChg chg="modSp mod">
          <pc:chgData name="Posada, Veronica" userId="2b2db282-b6ed-4dd0-80fd-c0cc83820869" providerId="ADAL" clId="{A6FF657B-86C7-394F-8A6F-59A619B2499E}" dt="2024-05-31T20:37:48.031" v="45" actId="20577"/>
          <pc:sldLayoutMkLst>
            <pc:docMk/>
            <pc:sldMasterMk cId="835336367" sldId="2147485117"/>
            <pc:sldLayoutMk cId="1571185308" sldId="2147485144"/>
          </pc:sldLayoutMkLst>
          <pc:spChg chg="mod">
            <ac:chgData name="Posada, Veronica" userId="2b2db282-b6ed-4dd0-80fd-c0cc83820869" providerId="ADAL" clId="{A6FF657B-86C7-394F-8A6F-59A619B2499E}" dt="2024-05-31T20:37:48.031" v="45" actId="20577"/>
            <ac:spMkLst>
              <pc:docMk/>
              <pc:sldMasterMk cId="835336367" sldId="2147485117"/>
              <pc:sldLayoutMk cId="1571185308" sldId="2147485144"/>
              <ac:spMk id="6" creationId="{00000000-0000-0000-0000-000000000000}"/>
            </ac:spMkLst>
          </pc:spChg>
        </pc:sldLayoutChg>
        <pc:sldLayoutChg chg="modSp mod">
          <pc:chgData name="Posada, Veronica" userId="2b2db282-b6ed-4dd0-80fd-c0cc83820869" providerId="ADAL" clId="{A6FF657B-86C7-394F-8A6F-59A619B2499E}" dt="2024-05-31T20:37:48.030" v="43" actId="20577"/>
          <pc:sldLayoutMkLst>
            <pc:docMk/>
            <pc:sldMasterMk cId="835336367" sldId="2147485117"/>
            <pc:sldLayoutMk cId="3023909060" sldId="2147485145"/>
          </pc:sldLayoutMkLst>
          <pc:spChg chg="mod">
            <ac:chgData name="Posada, Veronica" userId="2b2db282-b6ed-4dd0-80fd-c0cc83820869" providerId="ADAL" clId="{A6FF657B-86C7-394F-8A6F-59A619B2499E}" dt="2024-05-31T20:37:48.030" v="43" actId="20577"/>
            <ac:spMkLst>
              <pc:docMk/>
              <pc:sldMasterMk cId="835336367" sldId="2147485117"/>
              <pc:sldLayoutMk cId="3023909060" sldId="2147485145"/>
              <ac:spMk id="14" creationId="{00000000-0000-0000-0000-000000000000}"/>
            </ac:spMkLst>
          </pc:spChg>
        </pc:sldLayoutChg>
        <pc:sldLayoutChg chg="modSp mod">
          <pc:chgData name="Posada, Veronica" userId="2b2db282-b6ed-4dd0-80fd-c0cc83820869" providerId="ADAL" clId="{A6FF657B-86C7-394F-8A6F-59A619B2499E}" dt="2024-05-31T20:37:47.994" v="5" actId="20577"/>
          <pc:sldLayoutMkLst>
            <pc:docMk/>
            <pc:sldMasterMk cId="835336367" sldId="2147485117"/>
            <pc:sldLayoutMk cId="1651496776" sldId="2147485149"/>
          </pc:sldLayoutMkLst>
          <pc:spChg chg="mod">
            <ac:chgData name="Posada, Veronica" userId="2b2db282-b6ed-4dd0-80fd-c0cc83820869" providerId="ADAL" clId="{A6FF657B-86C7-394F-8A6F-59A619B2499E}" dt="2024-05-31T20:37:47.994" v="5" actId="20577"/>
            <ac:spMkLst>
              <pc:docMk/>
              <pc:sldMasterMk cId="835336367" sldId="2147485117"/>
              <pc:sldLayoutMk cId="1651496776" sldId="2147485149"/>
              <ac:spMk id="14" creationId="{00000000-0000-0000-0000-000000000000}"/>
            </ac:spMkLst>
          </pc:spChg>
        </pc:sldLayoutChg>
        <pc:sldLayoutChg chg="modSp mod">
          <pc:chgData name="Posada, Veronica" userId="2b2db282-b6ed-4dd0-80fd-c0cc83820869" providerId="ADAL" clId="{A6FF657B-86C7-394F-8A6F-59A619B2499E}" dt="2024-05-31T20:37:48.020" v="32" actId="20577"/>
          <pc:sldLayoutMkLst>
            <pc:docMk/>
            <pc:sldMasterMk cId="835336367" sldId="2147485117"/>
            <pc:sldLayoutMk cId="294232159" sldId="2147485151"/>
          </pc:sldLayoutMkLst>
          <pc:spChg chg="mod">
            <ac:chgData name="Posada, Veronica" userId="2b2db282-b6ed-4dd0-80fd-c0cc83820869" providerId="ADAL" clId="{A6FF657B-86C7-394F-8A6F-59A619B2499E}" dt="2024-05-31T20:37:48.020" v="32" actId="20577"/>
            <ac:spMkLst>
              <pc:docMk/>
              <pc:sldMasterMk cId="835336367" sldId="2147485117"/>
              <pc:sldLayoutMk cId="294232159" sldId="2147485151"/>
              <ac:spMk id="14" creationId="{00000000-0000-0000-0000-000000000000}"/>
            </ac:spMkLst>
          </pc:spChg>
        </pc:sldLayoutChg>
        <pc:sldLayoutChg chg="modSp mod">
          <pc:chgData name="Posada, Veronica" userId="2b2db282-b6ed-4dd0-80fd-c0cc83820869" providerId="ADAL" clId="{A6FF657B-86C7-394F-8A6F-59A619B2499E}" dt="2024-05-31T20:37:48.025" v="38" actId="20577"/>
          <pc:sldLayoutMkLst>
            <pc:docMk/>
            <pc:sldMasterMk cId="835336367" sldId="2147485117"/>
            <pc:sldLayoutMk cId="125683641" sldId="2147485153"/>
          </pc:sldLayoutMkLst>
          <pc:spChg chg="mod">
            <ac:chgData name="Posada, Veronica" userId="2b2db282-b6ed-4dd0-80fd-c0cc83820869" providerId="ADAL" clId="{A6FF657B-86C7-394F-8A6F-59A619B2499E}" dt="2024-05-31T20:37:48.025" v="38" actId="20577"/>
            <ac:spMkLst>
              <pc:docMk/>
              <pc:sldMasterMk cId="835336367" sldId="2147485117"/>
              <pc:sldLayoutMk cId="125683641" sldId="2147485153"/>
              <ac:spMk id="14" creationId="{00000000-0000-0000-0000-000000000000}"/>
            </ac:spMkLst>
          </pc:spChg>
        </pc:sldLayoutChg>
        <pc:sldLayoutChg chg="modSp mod">
          <pc:chgData name="Posada, Veronica" userId="2b2db282-b6ed-4dd0-80fd-c0cc83820869" providerId="ADAL" clId="{A6FF657B-86C7-394F-8A6F-59A619B2499E}" dt="2024-05-31T20:37:47.992" v="3" actId="20577"/>
          <pc:sldLayoutMkLst>
            <pc:docMk/>
            <pc:sldMasterMk cId="835336367" sldId="2147485117"/>
            <pc:sldLayoutMk cId="3884277641" sldId="2147485154"/>
          </pc:sldLayoutMkLst>
          <pc:spChg chg="mod">
            <ac:chgData name="Posada, Veronica" userId="2b2db282-b6ed-4dd0-80fd-c0cc83820869" providerId="ADAL" clId="{A6FF657B-86C7-394F-8A6F-59A619B2499E}" dt="2024-05-31T20:37:47.992" v="3" actId="20577"/>
            <ac:spMkLst>
              <pc:docMk/>
              <pc:sldMasterMk cId="835336367" sldId="2147485117"/>
              <pc:sldLayoutMk cId="3884277641" sldId="2147485154"/>
              <ac:spMk id="11" creationId="{00000000-0000-0000-0000-000000000000}"/>
            </ac:spMkLst>
          </pc:spChg>
        </pc:sldLayoutChg>
        <pc:sldLayoutChg chg="modSp mod">
          <pc:chgData name="Posada, Veronica" userId="2b2db282-b6ed-4dd0-80fd-c0cc83820869" providerId="ADAL" clId="{A6FF657B-86C7-394F-8A6F-59A619B2499E}" dt="2024-05-31T20:37:47.996" v="8" actId="20577"/>
          <pc:sldLayoutMkLst>
            <pc:docMk/>
            <pc:sldMasterMk cId="835336367" sldId="2147485117"/>
            <pc:sldLayoutMk cId="4167257739" sldId="2147485155"/>
          </pc:sldLayoutMkLst>
          <pc:spChg chg="mod">
            <ac:chgData name="Posada, Veronica" userId="2b2db282-b6ed-4dd0-80fd-c0cc83820869" providerId="ADAL" clId="{A6FF657B-86C7-394F-8A6F-59A619B2499E}" dt="2024-05-31T20:37:47.996" v="8" actId="20577"/>
            <ac:spMkLst>
              <pc:docMk/>
              <pc:sldMasterMk cId="835336367" sldId="2147485117"/>
              <pc:sldLayoutMk cId="4167257739" sldId="2147485155"/>
              <ac:spMk id="10" creationId="{00000000-0000-0000-0000-000000000000}"/>
            </ac:spMkLst>
          </pc:spChg>
        </pc:sldLayoutChg>
        <pc:sldLayoutChg chg="modSp mod">
          <pc:chgData name="Posada, Veronica" userId="2b2db282-b6ed-4dd0-80fd-c0cc83820869" providerId="ADAL" clId="{A6FF657B-86C7-394F-8A6F-59A619B2499E}" dt="2024-05-31T20:37:48.003" v="14" actId="20577"/>
          <pc:sldLayoutMkLst>
            <pc:docMk/>
            <pc:sldMasterMk cId="835336367" sldId="2147485117"/>
            <pc:sldLayoutMk cId="3800280186" sldId="2147485156"/>
          </pc:sldLayoutMkLst>
          <pc:spChg chg="mod">
            <ac:chgData name="Posada, Veronica" userId="2b2db282-b6ed-4dd0-80fd-c0cc83820869" providerId="ADAL" clId="{A6FF657B-86C7-394F-8A6F-59A619B2499E}" dt="2024-05-31T20:37:48.003" v="14" actId="20577"/>
            <ac:spMkLst>
              <pc:docMk/>
              <pc:sldMasterMk cId="835336367" sldId="2147485117"/>
              <pc:sldLayoutMk cId="3800280186" sldId="2147485156"/>
              <ac:spMk id="14" creationId="{00000000-0000-0000-0000-000000000000}"/>
            </ac:spMkLst>
          </pc:spChg>
        </pc:sldLayoutChg>
        <pc:sldLayoutChg chg="modSp mod">
          <pc:chgData name="Posada, Veronica" userId="2b2db282-b6ed-4dd0-80fd-c0cc83820869" providerId="ADAL" clId="{A6FF657B-86C7-394F-8A6F-59A619B2499E}" dt="2024-05-31T20:37:47.990" v="1" actId="20577"/>
          <pc:sldLayoutMkLst>
            <pc:docMk/>
            <pc:sldMasterMk cId="835336367" sldId="2147485117"/>
            <pc:sldLayoutMk cId="2052710400" sldId="2147485158"/>
          </pc:sldLayoutMkLst>
          <pc:spChg chg="mod">
            <ac:chgData name="Posada, Veronica" userId="2b2db282-b6ed-4dd0-80fd-c0cc83820869" providerId="ADAL" clId="{A6FF657B-86C7-394F-8A6F-59A619B2499E}" dt="2024-05-31T20:37:47.990" v="1" actId="20577"/>
            <ac:spMkLst>
              <pc:docMk/>
              <pc:sldMasterMk cId="835336367" sldId="2147485117"/>
              <pc:sldLayoutMk cId="2052710400" sldId="2147485158"/>
              <ac:spMk id="10" creationId="{00000000-0000-0000-0000-000000000000}"/>
            </ac:spMkLst>
          </pc:spChg>
        </pc:sldLayoutChg>
        <pc:sldLayoutChg chg="modSp mod">
          <pc:chgData name="Posada, Veronica" userId="2b2db282-b6ed-4dd0-80fd-c0cc83820869" providerId="ADAL" clId="{A6FF657B-86C7-394F-8A6F-59A619B2499E}" dt="2024-05-31T20:37:48.033" v="47" actId="20577"/>
          <pc:sldLayoutMkLst>
            <pc:docMk/>
            <pc:sldMasterMk cId="835336367" sldId="2147485117"/>
            <pc:sldLayoutMk cId="3818754075" sldId="2147485160"/>
          </pc:sldLayoutMkLst>
          <pc:spChg chg="mod">
            <ac:chgData name="Posada, Veronica" userId="2b2db282-b6ed-4dd0-80fd-c0cc83820869" providerId="ADAL" clId="{A6FF657B-86C7-394F-8A6F-59A619B2499E}" dt="2024-05-31T20:37:48.033" v="47" actId="20577"/>
            <ac:spMkLst>
              <pc:docMk/>
              <pc:sldMasterMk cId="835336367" sldId="2147485117"/>
              <pc:sldLayoutMk cId="3818754075" sldId="2147485160"/>
              <ac:spMk id="55" creationId="{00000000-0000-0000-0000-000000000000}"/>
            </ac:spMkLst>
          </pc:spChg>
        </pc:sldLayoutChg>
        <pc:sldLayoutChg chg="modSp mod">
          <pc:chgData name="Posada, Veronica" userId="2b2db282-b6ed-4dd0-80fd-c0cc83820869" providerId="ADAL" clId="{A6FF657B-86C7-394F-8A6F-59A619B2499E}" dt="2024-05-31T20:37:48.011" v="22" actId="20577"/>
          <pc:sldLayoutMkLst>
            <pc:docMk/>
            <pc:sldMasterMk cId="835336367" sldId="2147485117"/>
            <pc:sldLayoutMk cId="3695993763" sldId="2147485161"/>
          </pc:sldLayoutMkLst>
          <pc:spChg chg="mod">
            <ac:chgData name="Posada, Veronica" userId="2b2db282-b6ed-4dd0-80fd-c0cc83820869" providerId="ADAL" clId="{A6FF657B-86C7-394F-8A6F-59A619B2499E}" dt="2024-05-31T20:37:48.011" v="22" actId="20577"/>
            <ac:spMkLst>
              <pc:docMk/>
              <pc:sldMasterMk cId="835336367" sldId="2147485117"/>
              <pc:sldLayoutMk cId="3695993763" sldId="2147485161"/>
              <ac:spMk id="55" creationId="{00000000-0000-0000-0000-000000000000}"/>
            </ac:spMkLst>
          </pc:spChg>
        </pc:sldLayoutChg>
        <pc:sldLayoutChg chg="modSp mod">
          <pc:chgData name="Posada, Veronica" userId="2b2db282-b6ed-4dd0-80fd-c0cc83820869" providerId="ADAL" clId="{A6FF657B-86C7-394F-8A6F-59A619B2499E}" dt="2024-05-31T20:37:47.993" v="4" actId="20577"/>
          <pc:sldLayoutMkLst>
            <pc:docMk/>
            <pc:sldMasterMk cId="835336367" sldId="2147485117"/>
            <pc:sldLayoutMk cId="3592263840" sldId="2147485162"/>
          </pc:sldLayoutMkLst>
          <pc:spChg chg="mod">
            <ac:chgData name="Posada, Veronica" userId="2b2db282-b6ed-4dd0-80fd-c0cc83820869" providerId="ADAL" clId="{A6FF657B-86C7-394F-8A6F-59A619B2499E}" dt="2024-05-31T20:37:47.993" v="4" actId="20577"/>
            <ac:spMkLst>
              <pc:docMk/>
              <pc:sldMasterMk cId="835336367" sldId="2147485117"/>
              <pc:sldLayoutMk cId="3592263840" sldId="2147485162"/>
              <ac:spMk id="11" creationId="{00000000-0000-0000-0000-000000000000}"/>
            </ac:spMkLst>
          </pc:spChg>
        </pc:sldLayoutChg>
        <pc:sldLayoutChg chg="modSp mod">
          <pc:chgData name="Posada, Veronica" userId="2b2db282-b6ed-4dd0-80fd-c0cc83820869" providerId="ADAL" clId="{A6FF657B-86C7-394F-8A6F-59A619B2499E}" dt="2024-05-31T20:37:48.015" v="27" actId="20577"/>
          <pc:sldLayoutMkLst>
            <pc:docMk/>
            <pc:sldMasterMk cId="835336367" sldId="2147485117"/>
            <pc:sldLayoutMk cId="3482945632" sldId="2147485163"/>
          </pc:sldLayoutMkLst>
          <pc:spChg chg="mod">
            <ac:chgData name="Posada, Veronica" userId="2b2db282-b6ed-4dd0-80fd-c0cc83820869" providerId="ADAL" clId="{A6FF657B-86C7-394F-8A6F-59A619B2499E}" dt="2024-05-31T20:37:48.015" v="27" actId="20577"/>
            <ac:spMkLst>
              <pc:docMk/>
              <pc:sldMasterMk cId="835336367" sldId="2147485117"/>
              <pc:sldLayoutMk cId="3482945632" sldId="2147485163"/>
              <ac:spMk id="12" creationId="{00000000-0000-0000-0000-000000000000}"/>
            </ac:spMkLst>
          </pc:spChg>
        </pc:sldLayoutChg>
        <pc:sldLayoutChg chg="modSp mod">
          <pc:chgData name="Posada, Veronica" userId="2b2db282-b6ed-4dd0-80fd-c0cc83820869" providerId="ADAL" clId="{A6FF657B-86C7-394F-8A6F-59A619B2499E}" dt="2024-05-31T20:37:47.997" v="9" actId="20577"/>
          <pc:sldLayoutMkLst>
            <pc:docMk/>
            <pc:sldMasterMk cId="835336367" sldId="2147485117"/>
            <pc:sldLayoutMk cId="3679174197" sldId="2147485164"/>
          </pc:sldLayoutMkLst>
          <pc:spChg chg="mod">
            <ac:chgData name="Posada, Veronica" userId="2b2db282-b6ed-4dd0-80fd-c0cc83820869" providerId="ADAL" clId="{A6FF657B-86C7-394F-8A6F-59A619B2499E}" dt="2024-05-31T20:37:47.997" v="9" actId="20577"/>
            <ac:spMkLst>
              <pc:docMk/>
              <pc:sldMasterMk cId="835336367" sldId="2147485117"/>
              <pc:sldLayoutMk cId="3679174197" sldId="2147485164"/>
              <ac:spMk id="17" creationId="{00000000-0000-0000-0000-000000000000}"/>
            </ac:spMkLst>
          </pc:spChg>
        </pc:sldLayoutChg>
        <pc:sldLayoutChg chg="modSp mod">
          <pc:chgData name="Posada, Veronica" userId="2b2db282-b6ed-4dd0-80fd-c0cc83820869" providerId="ADAL" clId="{A6FF657B-86C7-394F-8A6F-59A619B2499E}" dt="2024-05-31T20:37:48" v="11" actId="20577"/>
          <pc:sldLayoutMkLst>
            <pc:docMk/>
            <pc:sldMasterMk cId="835336367" sldId="2147485117"/>
            <pc:sldLayoutMk cId="2974192123" sldId="2147485165"/>
          </pc:sldLayoutMkLst>
          <pc:spChg chg="mod">
            <ac:chgData name="Posada, Veronica" userId="2b2db282-b6ed-4dd0-80fd-c0cc83820869" providerId="ADAL" clId="{A6FF657B-86C7-394F-8A6F-59A619B2499E}" dt="2024-05-31T20:37:48" v="11" actId="20577"/>
            <ac:spMkLst>
              <pc:docMk/>
              <pc:sldMasterMk cId="835336367" sldId="2147485117"/>
              <pc:sldLayoutMk cId="2974192123" sldId="2147485165"/>
              <ac:spMk id="18" creationId="{00000000-0000-0000-0000-000000000000}"/>
            </ac:spMkLst>
          </pc:spChg>
        </pc:sldLayoutChg>
        <pc:sldLayoutChg chg="modSp mod">
          <pc:chgData name="Posada, Veronica" userId="2b2db282-b6ed-4dd0-80fd-c0cc83820869" providerId="ADAL" clId="{A6FF657B-86C7-394F-8A6F-59A619B2499E}" dt="2024-05-31T20:37:48.001" v="13" actId="20577"/>
          <pc:sldLayoutMkLst>
            <pc:docMk/>
            <pc:sldMasterMk cId="835336367" sldId="2147485117"/>
            <pc:sldLayoutMk cId="2438078681" sldId="2147485166"/>
          </pc:sldLayoutMkLst>
          <pc:spChg chg="mod">
            <ac:chgData name="Posada, Veronica" userId="2b2db282-b6ed-4dd0-80fd-c0cc83820869" providerId="ADAL" clId="{A6FF657B-86C7-394F-8A6F-59A619B2499E}" dt="2024-05-31T20:37:48.001" v="13" actId="20577"/>
            <ac:spMkLst>
              <pc:docMk/>
              <pc:sldMasterMk cId="835336367" sldId="2147485117"/>
              <pc:sldLayoutMk cId="2438078681" sldId="2147485166"/>
              <ac:spMk id="20" creationId="{00000000-0000-0000-0000-000000000000}"/>
            </ac:spMkLst>
          </pc:spChg>
        </pc:sldLayoutChg>
        <pc:sldLayoutChg chg="modSp mod">
          <pc:chgData name="Posada, Veronica" userId="2b2db282-b6ed-4dd0-80fd-c0cc83820869" providerId="ADAL" clId="{A6FF657B-86C7-394F-8A6F-59A619B2499E}" dt="2024-05-31T20:37:48.004" v="15" actId="20577"/>
          <pc:sldLayoutMkLst>
            <pc:docMk/>
            <pc:sldMasterMk cId="835336367" sldId="2147485117"/>
            <pc:sldLayoutMk cId="3369865758" sldId="2147485167"/>
          </pc:sldLayoutMkLst>
          <pc:spChg chg="mod">
            <ac:chgData name="Posada, Veronica" userId="2b2db282-b6ed-4dd0-80fd-c0cc83820869" providerId="ADAL" clId="{A6FF657B-86C7-394F-8A6F-59A619B2499E}" dt="2024-05-31T20:37:48.004" v="15" actId="20577"/>
            <ac:spMkLst>
              <pc:docMk/>
              <pc:sldMasterMk cId="835336367" sldId="2147485117"/>
              <pc:sldLayoutMk cId="3369865758" sldId="2147485167"/>
              <ac:spMk id="20" creationId="{00000000-0000-0000-0000-000000000000}"/>
            </ac:spMkLst>
          </pc:spChg>
        </pc:sldLayoutChg>
        <pc:sldLayoutChg chg="modSp mod">
          <pc:chgData name="Posada, Veronica" userId="2b2db282-b6ed-4dd0-80fd-c0cc83820869" providerId="ADAL" clId="{A6FF657B-86C7-394F-8A6F-59A619B2499E}" dt="2024-05-31T20:37:48.020" v="33" actId="20577"/>
          <pc:sldLayoutMkLst>
            <pc:docMk/>
            <pc:sldMasterMk cId="835336367" sldId="2147485117"/>
            <pc:sldLayoutMk cId="3997916187" sldId="2147485168"/>
          </pc:sldLayoutMkLst>
          <pc:spChg chg="mod">
            <ac:chgData name="Posada, Veronica" userId="2b2db282-b6ed-4dd0-80fd-c0cc83820869" providerId="ADAL" clId="{A6FF657B-86C7-394F-8A6F-59A619B2499E}" dt="2024-05-31T20:37:48.020" v="33" actId="20577"/>
            <ac:spMkLst>
              <pc:docMk/>
              <pc:sldMasterMk cId="835336367" sldId="2147485117"/>
              <pc:sldLayoutMk cId="3997916187" sldId="2147485168"/>
              <ac:spMk id="19" creationId="{00000000-0000-0000-0000-000000000000}"/>
            </ac:spMkLst>
          </pc:spChg>
        </pc:sldLayoutChg>
        <pc:sldLayoutChg chg="modSp mod">
          <pc:chgData name="Posada, Veronica" userId="2b2db282-b6ed-4dd0-80fd-c0cc83820869" providerId="ADAL" clId="{A6FF657B-86C7-394F-8A6F-59A619B2499E}" dt="2024-05-31T20:37:48.022" v="35" actId="20577"/>
          <pc:sldLayoutMkLst>
            <pc:docMk/>
            <pc:sldMasterMk cId="835336367" sldId="2147485117"/>
            <pc:sldLayoutMk cId="589356867" sldId="2147485169"/>
          </pc:sldLayoutMkLst>
          <pc:spChg chg="mod">
            <ac:chgData name="Posada, Veronica" userId="2b2db282-b6ed-4dd0-80fd-c0cc83820869" providerId="ADAL" clId="{A6FF657B-86C7-394F-8A6F-59A619B2499E}" dt="2024-05-31T20:37:48.022" v="35" actId="20577"/>
            <ac:spMkLst>
              <pc:docMk/>
              <pc:sldMasterMk cId="835336367" sldId="2147485117"/>
              <pc:sldLayoutMk cId="589356867" sldId="2147485169"/>
              <ac:spMk id="16" creationId="{00000000-0000-0000-0000-000000000000}"/>
            </ac:spMkLst>
          </pc:spChg>
        </pc:sldLayoutChg>
        <pc:sldLayoutChg chg="modSp mod">
          <pc:chgData name="Posada, Veronica" userId="2b2db282-b6ed-4dd0-80fd-c0cc83820869" providerId="ADAL" clId="{A6FF657B-86C7-394F-8A6F-59A619B2499E}" dt="2024-05-31T20:37:48.024" v="37" actId="20577"/>
          <pc:sldLayoutMkLst>
            <pc:docMk/>
            <pc:sldMasterMk cId="835336367" sldId="2147485117"/>
            <pc:sldLayoutMk cId="1969027386" sldId="2147485170"/>
          </pc:sldLayoutMkLst>
          <pc:spChg chg="mod">
            <ac:chgData name="Posada, Veronica" userId="2b2db282-b6ed-4dd0-80fd-c0cc83820869" providerId="ADAL" clId="{A6FF657B-86C7-394F-8A6F-59A619B2499E}" dt="2024-05-31T20:37:48.024" v="37" actId="20577"/>
            <ac:spMkLst>
              <pc:docMk/>
              <pc:sldMasterMk cId="835336367" sldId="2147485117"/>
              <pc:sldLayoutMk cId="1969027386" sldId="2147485170"/>
              <ac:spMk id="17" creationId="{00000000-0000-0000-0000-000000000000}"/>
            </ac:spMkLst>
          </pc:spChg>
        </pc:sldLayoutChg>
        <pc:sldLayoutChg chg="modSp mod">
          <pc:chgData name="Posada, Veronica" userId="2b2db282-b6ed-4dd0-80fd-c0cc83820869" providerId="ADAL" clId="{A6FF657B-86C7-394F-8A6F-59A619B2499E}" dt="2024-05-31T20:37:48.026" v="39" actId="20577"/>
          <pc:sldLayoutMkLst>
            <pc:docMk/>
            <pc:sldMasterMk cId="835336367" sldId="2147485117"/>
            <pc:sldLayoutMk cId="3984939824" sldId="2147485171"/>
          </pc:sldLayoutMkLst>
          <pc:spChg chg="mod">
            <ac:chgData name="Posada, Veronica" userId="2b2db282-b6ed-4dd0-80fd-c0cc83820869" providerId="ADAL" clId="{A6FF657B-86C7-394F-8A6F-59A619B2499E}" dt="2024-05-31T20:37:48.026" v="39" actId="20577"/>
            <ac:spMkLst>
              <pc:docMk/>
              <pc:sldMasterMk cId="835336367" sldId="2147485117"/>
              <pc:sldLayoutMk cId="3984939824" sldId="2147485171"/>
              <ac:spMk id="20" creationId="{00000000-0000-0000-0000-000000000000}"/>
            </ac:spMkLst>
          </pc:spChg>
        </pc:sldLayoutChg>
        <pc:sldLayoutChg chg="modSp mod">
          <pc:chgData name="Posada, Veronica" userId="2b2db282-b6ed-4dd0-80fd-c0cc83820869" providerId="ADAL" clId="{A6FF657B-86C7-394F-8A6F-59A619B2499E}" dt="2024-05-31T20:37:48.035" v="48" actId="20577"/>
          <pc:sldLayoutMkLst>
            <pc:docMk/>
            <pc:sldMasterMk cId="835336367" sldId="2147485117"/>
            <pc:sldLayoutMk cId="2270190941" sldId="2147485175"/>
          </pc:sldLayoutMkLst>
          <pc:spChg chg="mod">
            <ac:chgData name="Posada, Veronica" userId="2b2db282-b6ed-4dd0-80fd-c0cc83820869" providerId="ADAL" clId="{A6FF657B-86C7-394F-8A6F-59A619B2499E}" dt="2024-05-31T20:37:48.035" v="48" actId="20577"/>
            <ac:spMkLst>
              <pc:docMk/>
              <pc:sldMasterMk cId="835336367" sldId="2147485117"/>
              <pc:sldLayoutMk cId="2270190941" sldId="2147485175"/>
              <ac:spMk id="14" creationId="{00000000-0000-0000-0000-000000000000}"/>
            </ac:spMkLst>
          </pc:spChg>
        </pc:sldLayoutChg>
        <pc:sldLayoutChg chg="modSp mod">
          <pc:chgData name="Posada, Veronica" userId="2b2db282-b6ed-4dd0-80fd-c0cc83820869" providerId="ADAL" clId="{A6FF657B-86C7-394F-8A6F-59A619B2499E}" dt="2024-05-31T20:37:48.036" v="49" actId="20577"/>
          <pc:sldLayoutMkLst>
            <pc:docMk/>
            <pc:sldMasterMk cId="835336367" sldId="2147485117"/>
            <pc:sldLayoutMk cId="1784797" sldId="2147485179"/>
          </pc:sldLayoutMkLst>
          <pc:spChg chg="mod">
            <ac:chgData name="Posada, Veronica" userId="2b2db282-b6ed-4dd0-80fd-c0cc83820869" providerId="ADAL" clId="{A6FF657B-86C7-394F-8A6F-59A619B2499E}" dt="2024-05-31T20:37:48.036" v="49" actId="20577"/>
            <ac:spMkLst>
              <pc:docMk/>
              <pc:sldMasterMk cId="835336367" sldId="2147485117"/>
              <pc:sldLayoutMk cId="1784797" sldId="2147485179"/>
              <ac:spMk id="11" creationId="{00000000-0000-0000-0000-000000000000}"/>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31/2024</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31/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4210759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448346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278180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e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v1.pptx</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85.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F6F8C62-CB64-3BB5-7269-CB62B49702B0}"/>
              </a:ext>
            </a:extLst>
          </p:cNvPr>
          <p:cNvSpPr>
            <a:spLocks noGrp="1"/>
          </p:cNvSpPr>
          <p:nvPr>
            <p:ph type="title"/>
          </p:nvPr>
        </p:nvSpPr>
        <p:spPr>
          <a:xfrm>
            <a:off x="1045636" y="2542603"/>
            <a:ext cx="5625327" cy="1772793"/>
          </a:xfrm>
        </p:spPr>
        <p:txBody>
          <a:bodyPr vert="horz"/>
          <a:lstStyle/>
          <a:p>
            <a:r>
              <a:rPr lang="en-US" sz="6400">
                <a:solidFill>
                  <a:srgbClr val="37373A"/>
                </a:solidFill>
              </a:rPr>
              <a:t>Usability testing results</a:t>
            </a:r>
          </a:p>
        </p:txBody>
      </p:sp>
    </p:spTree>
    <p:extLst>
      <p:ext uri="{BB962C8B-B14F-4D97-AF65-F5344CB8AC3E}">
        <p14:creationId xmlns:p14="http://schemas.microsoft.com/office/powerpoint/2010/main" val="37401110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145039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a:solidFill>
                  <a:schemeClr val="tx1">
                    <a:lumMod val="50000"/>
                  </a:schemeClr>
                </a:solidFill>
              </a:rPr>
              <a:t>Conventions for user feedback:</a:t>
            </a:r>
          </a:p>
          <a:p>
            <a:endParaRPr lang="en-US" sz="1200" i="1">
              <a:solidFill>
                <a:srgbClr val="575757"/>
              </a:solidFill>
            </a:endParaRPr>
          </a:p>
          <a:p>
            <a:r>
              <a:rPr lang="en-US" sz="1200" b="1">
                <a:solidFill>
                  <a:srgbClr val="C00000"/>
                </a:solidFill>
              </a:rPr>
              <a:t>Must fix</a:t>
            </a:r>
          </a:p>
          <a:p>
            <a:r>
              <a:rPr lang="en-US" sz="1200" b="1">
                <a:solidFill>
                  <a:srgbClr val="FFC000"/>
                </a:solidFill>
              </a:rPr>
              <a:t>Should fix</a:t>
            </a:r>
          </a:p>
          <a:p>
            <a:r>
              <a:rPr lang="en-US" sz="1200" b="1">
                <a:solidFill>
                  <a:srgbClr val="37373A"/>
                </a:solidFill>
              </a:rPr>
              <a:t>Could fix</a:t>
            </a:r>
          </a:p>
          <a:p>
            <a:r>
              <a:rPr lang="en-US" sz="1200" i="1">
                <a:solidFill>
                  <a:schemeClr val="bg1">
                    <a:lumMod val="50000"/>
                  </a:schemeClr>
                </a:solidFill>
              </a:rPr>
              <a:t>Grey italics: comments</a:t>
            </a:r>
          </a:p>
        </p:txBody>
      </p:sp>
      <p:sp>
        <p:nvSpPr>
          <p:cNvPr id="3" name="Rounded Rectangle 2">
            <a:extLst>
              <a:ext uri="{FF2B5EF4-FFF2-40B4-BE49-F238E27FC236}">
                <a16:creationId xmlns:a16="http://schemas.microsoft.com/office/drawing/2014/main" id="{E20CB428-0160-8697-1872-66F167F9F659}"/>
              </a:ext>
            </a:extLst>
          </p:cNvPr>
          <p:cNvSpPr/>
          <p:nvPr/>
        </p:nvSpPr>
        <p:spPr>
          <a:xfrm>
            <a:off x="1153391" y="800100"/>
            <a:ext cx="3345873" cy="5486400"/>
          </a:xfrm>
          <a:prstGeom prst="round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500">
                <a:solidFill>
                  <a:srgbClr val="FFFFFF"/>
                </a:solidFill>
              </a:rPr>
              <a:t>Screenshot</a:t>
            </a:r>
          </a:p>
        </p:txBody>
      </p:sp>
      <p:cxnSp>
        <p:nvCxnSpPr>
          <p:cNvPr id="6" name="Straight Connector 5">
            <a:extLst>
              <a:ext uri="{FF2B5EF4-FFF2-40B4-BE49-F238E27FC236}">
                <a16:creationId xmlns:a16="http://schemas.microsoft.com/office/drawing/2014/main" id="{3C3C377B-8A80-6DBE-A1E5-748E96A7EDD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39C2A1-C725-2D63-D88E-DC4AAB0E34AE}"/>
              </a:ext>
            </a:extLst>
          </p:cNvPr>
          <p:cNvCxnSpPr/>
          <p:nvPr/>
        </p:nvCxnSpPr>
        <p:spPr>
          <a:xfrm>
            <a:off x="4073236" y="2254827"/>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146A6BF-3C2F-F9A7-1A7C-A3402E408CE4}"/>
              </a:ext>
            </a:extLst>
          </p:cNvPr>
          <p:cNvCxnSpPr/>
          <p:nvPr/>
        </p:nvCxnSpPr>
        <p:spPr>
          <a:xfrm>
            <a:off x="4073236" y="3532909"/>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D2DB5E-8FC2-3A22-E1BF-1ECFB58BB715}"/>
              </a:ext>
            </a:extLst>
          </p:cNvPr>
          <p:cNvSpPr txBox="1"/>
          <p:nvPr/>
        </p:nvSpPr>
        <p:spPr>
          <a:xfrm>
            <a:off x="7161051" y="18236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a:solidFill>
                  <a:srgbClr val="C00000"/>
                </a:solidFill>
              </a:rPr>
              <a:t>Must fix: </a:t>
            </a:r>
          </a:p>
          <a:p>
            <a:pPr marL="171450" indent="-171450">
              <a:buFont typeface="Arial" panose="020B0604020202020204" pitchFamily="34" charset="0"/>
              <a:buChar char="•"/>
            </a:pPr>
            <a:r>
              <a:rPr lang="en-US" sz="1200">
                <a:solidFill>
                  <a:srgbClr val="37373A"/>
                </a:solidFill>
              </a:rPr>
              <a:t>xxx</a:t>
            </a:r>
          </a:p>
        </p:txBody>
      </p:sp>
      <p:sp>
        <p:nvSpPr>
          <p:cNvPr id="13" name="TextBox 12">
            <a:extLst>
              <a:ext uri="{FF2B5EF4-FFF2-40B4-BE49-F238E27FC236}">
                <a16:creationId xmlns:a16="http://schemas.microsoft.com/office/drawing/2014/main" id="{F8AC1C6E-ECFE-0323-3C68-6F3C9C282E81}"/>
              </a:ext>
            </a:extLst>
          </p:cNvPr>
          <p:cNvSpPr txBox="1"/>
          <p:nvPr/>
        </p:nvSpPr>
        <p:spPr>
          <a:xfrm>
            <a:off x="7161051" y="30809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a:solidFill>
                  <a:srgbClr val="FFC000"/>
                </a:solidFill>
              </a:rPr>
              <a:t>Should fix: </a:t>
            </a:r>
          </a:p>
          <a:p>
            <a:pPr marL="171450" indent="-171450">
              <a:buFont typeface="Arial" panose="020B0604020202020204" pitchFamily="34" charset="0"/>
              <a:buChar char="•"/>
            </a:pPr>
            <a:r>
              <a:rPr lang="en-US" sz="1200">
                <a:solidFill>
                  <a:srgbClr val="37373A"/>
                </a:solidFill>
              </a:rPr>
              <a:t>xxx</a:t>
            </a:r>
          </a:p>
        </p:txBody>
      </p:sp>
      <p:sp>
        <p:nvSpPr>
          <p:cNvPr id="14" name="TextBox 13">
            <a:extLst>
              <a:ext uri="{FF2B5EF4-FFF2-40B4-BE49-F238E27FC236}">
                <a16:creationId xmlns:a16="http://schemas.microsoft.com/office/drawing/2014/main" id="{AB594B04-952B-CE02-2328-AB73FE27FB18}"/>
              </a:ext>
            </a:extLst>
          </p:cNvPr>
          <p:cNvSpPr txBox="1"/>
          <p:nvPr/>
        </p:nvSpPr>
        <p:spPr>
          <a:xfrm>
            <a:off x="7161051" y="4504457"/>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a:solidFill>
                  <a:srgbClr val="37373A"/>
                </a:solidFill>
              </a:rPr>
              <a:t>Could fix: </a:t>
            </a:r>
          </a:p>
          <a:p>
            <a:pPr marL="171450" indent="-171450">
              <a:buFont typeface="Arial" panose="020B0604020202020204" pitchFamily="34" charset="0"/>
              <a:buChar char="•"/>
            </a:pPr>
            <a:r>
              <a:rPr lang="en-US" sz="1200">
                <a:solidFill>
                  <a:srgbClr val="37373A"/>
                </a:solidFill>
              </a:rPr>
              <a:t>xxx</a:t>
            </a:r>
          </a:p>
        </p:txBody>
      </p:sp>
    </p:spTree>
    <p:extLst>
      <p:ext uri="{BB962C8B-B14F-4D97-AF65-F5344CB8AC3E}">
        <p14:creationId xmlns:p14="http://schemas.microsoft.com/office/powerpoint/2010/main" val="2755796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extLst>
              <p:ext uri="{D42A27DB-BD31-4B8C-83A1-F6EECF244321}">
                <p14:modId xmlns:p14="http://schemas.microsoft.com/office/powerpoint/2010/main" val="976100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F2F8E8C-AA14-3AC5-863A-554AA614AE38}"/>
              </a:ext>
            </a:extLst>
          </p:cNvPr>
          <p:cNvPicPr>
            <a:picLocks noChangeAspect="1"/>
          </p:cNvPicPr>
          <p:nvPr/>
        </p:nvPicPr>
        <p:blipFill>
          <a:blip r:embed="rId6"/>
          <a:stretch>
            <a:fillRect/>
          </a:stretch>
        </p:blipFill>
        <p:spPr>
          <a:xfrm>
            <a:off x="1782915" y="595116"/>
            <a:ext cx="3015079" cy="5667768"/>
          </a:xfrm>
          <a:prstGeom prst="rect">
            <a:avLst/>
          </a:prstGeom>
        </p:spPr>
      </p:pic>
      <p:cxnSp>
        <p:nvCxnSpPr>
          <p:cNvPr id="7" name="Straight Connector 6">
            <a:extLst>
              <a:ext uri="{FF2B5EF4-FFF2-40B4-BE49-F238E27FC236}">
                <a16:creationId xmlns:a16="http://schemas.microsoft.com/office/drawing/2014/main" id="{1D3DBB62-B71D-C2E4-4BE0-ACD493CB9D4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8CB04A5-DE4D-7F79-1E64-FE1F5F4126C2}"/>
              </a:ext>
            </a:extLst>
          </p:cNvPr>
          <p:cNvSpPr txBox="1"/>
          <p:nvPr/>
        </p:nvSpPr>
        <p:spPr>
          <a:xfrm>
            <a:off x="7088315" y="4785014"/>
            <a:ext cx="1953491"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a:solidFill>
                  <a:srgbClr val="37373A"/>
                </a:solidFill>
              </a:rPr>
              <a:t>Could fix: </a:t>
            </a:r>
          </a:p>
          <a:p>
            <a:pPr marL="171450" indent="-171450">
              <a:buFont typeface="Arial" panose="020B0604020202020204" pitchFamily="34" charset="0"/>
              <a:buChar char="•"/>
            </a:pPr>
            <a:r>
              <a:rPr lang="en-US" sz="1200">
                <a:solidFill>
                  <a:srgbClr val="37373A"/>
                </a:solidFill>
              </a:rPr>
              <a:t>Change copy so user understands it refers to the form, not the website</a:t>
            </a:r>
          </a:p>
        </p:txBody>
      </p:sp>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98886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rgbClr val="575757"/>
                </a:solidFill>
              </a:rPr>
              <a:t>Italics: comments</a:t>
            </a:r>
          </a:p>
          <a:p>
            <a:r>
              <a:rPr lang="en-US" sz="1200" b="1">
                <a:solidFill>
                  <a:srgbClr val="C00000"/>
                </a:solidFill>
              </a:rPr>
              <a:t>Must fix</a:t>
            </a:r>
          </a:p>
          <a:p>
            <a:r>
              <a:rPr lang="en-US" sz="1200" b="1">
                <a:solidFill>
                  <a:srgbClr val="FFC000"/>
                </a:solidFill>
              </a:rPr>
              <a:t>Should fix</a:t>
            </a:r>
          </a:p>
          <a:p>
            <a:r>
              <a:rPr lang="en-US" sz="1200" b="1">
                <a:solidFill>
                  <a:srgbClr val="37373A"/>
                </a:solidFill>
              </a:rPr>
              <a:t>Could fix</a:t>
            </a:r>
          </a:p>
        </p:txBody>
      </p:sp>
    </p:spTree>
    <p:extLst>
      <p:ext uri="{BB962C8B-B14F-4D97-AF65-F5344CB8AC3E}">
        <p14:creationId xmlns:p14="http://schemas.microsoft.com/office/powerpoint/2010/main" val="39744325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C2EAC5-3649-BD5A-B6C9-7693679D4B28}"/>
              </a:ext>
            </a:extLst>
          </p:cNvPr>
          <p:cNvGraphicFramePr>
            <a:graphicFrameLocks noChangeAspect="1"/>
          </p:cNvGraphicFramePr>
          <p:nvPr>
            <p:custDataLst>
              <p:tags r:id="rId1"/>
            </p:custDataLst>
            <p:extLst>
              <p:ext uri="{D42A27DB-BD31-4B8C-83A1-F6EECF244321}">
                <p14:modId xmlns:p14="http://schemas.microsoft.com/office/powerpoint/2010/main" val="611411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E5C2EAC5-3649-BD5A-B6C9-7693679D4B2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97A31D4-082D-3180-29BE-923FC367DBAD}"/>
              </a:ext>
            </a:extLst>
          </p:cNvPr>
          <p:cNvPicPr>
            <a:picLocks noChangeAspect="1"/>
          </p:cNvPicPr>
          <p:nvPr/>
        </p:nvPicPr>
        <p:blipFill>
          <a:blip r:embed="rId6"/>
          <a:stretch>
            <a:fillRect/>
          </a:stretch>
        </p:blipFill>
        <p:spPr>
          <a:xfrm>
            <a:off x="1602658" y="428860"/>
            <a:ext cx="3604192" cy="5667768"/>
          </a:xfrm>
          <a:prstGeom prst="rect">
            <a:avLst/>
          </a:prstGeom>
        </p:spPr>
      </p:pic>
      <p:cxnSp>
        <p:nvCxnSpPr>
          <p:cNvPr id="7" name="Straight Connector 6">
            <a:extLst>
              <a:ext uri="{FF2B5EF4-FFF2-40B4-BE49-F238E27FC236}">
                <a16:creationId xmlns:a16="http://schemas.microsoft.com/office/drawing/2014/main" id="{56D31035-43F0-0F54-76DB-97443FE9D723}"/>
              </a:ext>
            </a:extLst>
          </p:cNvPr>
          <p:cNvCxnSpPr/>
          <p:nvPr/>
        </p:nvCxnSpPr>
        <p:spPr>
          <a:xfrm>
            <a:off x="4031672" y="3397826"/>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B1EE1C-9E61-C25D-8756-6C1D8F90F6F7}"/>
              </a:ext>
            </a:extLst>
          </p:cNvPr>
          <p:cNvCxnSpPr>
            <a:cxnSpLocks/>
          </p:cNvCxnSpPr>
          <p:nvPr/>
        </p:nvCxnSpPr>
        <p:spPr>
          <a:xfrm>
            <a:off x="3314700" y="4831772"/>
            <a:ext cx="3709554"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385260-6D6B-56E6-AEF2-059D7D6D2F27}"/>
              </a:ext>
            </a:extLst>
          </p:cNvPr>
          <p:cNvCxnSpPr>
            <a:cxnSpLocks/>
          </p:cNvCxnSpPr>
          <p:nvPr/>
        </p:nvCxnSpPr>
        <p:spPr>
          <a:xfrm>
            <a:off x="4031672" y="3766704"/>
            <a:ext cx="5247410"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79456D1-3746-59F2-782D-86914EEF6377}"/>
              </a:ext>
            </a:extLst>
          </p:cNvPr>
          <p:cNvSpPr txBox="1"/>
          <p:nvPr/>
        </p:nvSpPr>
        <p:spPr>
          <a:xfrm>
            <a:off x="7200899" y="3091295"/>
            <a:ext cx="1953491" cy="675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chemeClr val="bg1">
                    <a:lumMod val="50000"/>
                  </a:schemeClr>
                </a:solidFill>
              </a:rPr>
              <a:t>Would expect to learn more about the form when clicking</a:t>
            </a:r>
          </a:p>
        </p:txBody>
      </p:sp>
      <p:sp>
        <p:nvSpPr>
          <p:cNvPr id="14" name="TextBox 13">
            <a:extLst>
              <a:ext uri="{FF2B5EF4-FFF2-40B4-BE49-F238E27FC236}">
                <a16:creationId xmlns:a16="http://schemas.microsoft.com/office/drawing/2014/main" id="{2BBB1915-2ED5-B7EB-867B-7F829B7B095F}"/>
              </a:ext>
            </a:extLst>
          </p:cNvPr>
          <p:cNvSpPr txBox="1"/>
          <p:nvPr/>
        </p:nvSpPr>
        <p:spPr>
          <a:xfrm>
            <a:off x="7200900" y="4655127"/>
            <a:ext cx="1953491" cy="831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chemeClr val="bg1">
                    <a:lumMod val="50000"/>
                  </a:schemeClr>
                </a:solidFill>
              </a:rPr>
              <a:t>Check w/ Tech if we can only have the most up-to-date forms showing up so we can delete this</a:t>
            </a:r>
          </a:p>
        </p:txBody>
      </p:sp>
      <p:sp>
        <p:nvSpPr>
          <p:cNvPr id="15" name="TextBox 14">
            <a:extLst>
              <a:ext uri="{FF2B5EF4-FFF2-40B4-BE49-F238E27FC236}">
                <a16:creationId xmlns:a16="http://schemas.microsoft.com/office/drawing/2014/main" id="{DD45BB5A-EC76-901B-9927-0EB1F7B80566}"/>
              </a:ext>
            </a:extLst>
          </p:cNvPr>
          <p:cNvSpPr txBox="1"/>
          <p:nvPr/>
        </p:nvSpPr>
        <p:spPr>
          <a:xfrm>
            <a:off x="9331035" y="3590059"/>
            <a:ext cx="1953491"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a:solidFill>
                  <a:srgbClr val="37373A"/>
                </a:solidFill>
              </a:rPr>
              <a:t>Could fix: </a:t>
            </a:r>
          </a:p>
          <a:p>
            <a:pPr marL="171450" indent="-171450">
              <a:buFont typeface="Arial" panose="020B0604020202020204" pitchFamily="34" charset="0"/>
              <a:buChar char="•"/>
            </a:pPr>
            <a:r>
              <a:rPr lang="en-US" sz="1200">
                <a:solidFill>
                  <a:srgbClr val="37373A"/>
                </a:solidFill>
              </a:rPr>
              <a:t>Include information about ‘how to use’</a:t>
            </a:r>
          </a:p>
          <a:p>
            <a:pPr marL="171450" indent="-171450">
              <a:buFont typeface="Arial" panose="020B0604020202020204" pitchFamily="34" charset="0"/>
              <a:buChar char="•"/>
            </a:pPr>
            <a:r>
              <a:rPr lang="en-US" sz="1200">
                <a:solidFill>
                  <a:srgbClr val="37373A"/>
                </a:solidFill>
              </a:rPr>
              <a:t>Include steps</a:t>
            </a:r>
          </a:p>
        </p:txBody>
      </p:sp>
      <p:sp>
        <p:nvSpPr>
          <p:cNvPr id="17" name="TextBox 16">
            <a:extLst>
              <a:ext uri="{FF2B5EF4-FFF2-40B4-BE49-F238E27FC236}">
                <a16:creationId xmlns:a16="http://schemas.microsoft.com/office/drawing/2014/main" id="{7C5156CB-8D7F-60EF-45FC-6680DBB63816}"/>
              </a:ext>
            </a:extLst>
          </p:cNvPr>
          <p:cNvSpPr txBox="1"/>
          <p:nvPr/>
        </p:nvSpPr>
        <p:spPr>
          <a:xfrm>
            <a:off x="9892145" y="232930"/>
            <a:ext cx="1953491" cy="98886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rgbClr val="575757"/>
                </a:solidFill>
              </a:rPr>
              <a:t>Italics: comments</a:t>
            </a:r>
          </a:p>
          <a:p>
            <a:r>
              <a:rPr lang="en-US" sz="1200" b="1">
                <a:solidFill>
                  <a:srgbClr val="C00000"/>
                </a:solidFill>
              </a:rPr>
              <a:t>Must fix</a:t>
            </a:r>
          </a:p>
          <a:p>
            <a:r>
              <a:rPr lang="en-US" sz="1200" b="1">
                <a:solidFill>
                  <a:srgbClr val="FFC000"/>
                </a:solidFill>
              </a:rPr>
              <a:t>Should fix</a:t>
            </a:r>
          </a:p>
          <a:p>
            <a:r>
              <a:rPr lang="en-US" sz="1200" b="1">
                <a:solidFill>
                  <a:srgbClr val="37373A"/>
                </a:solidFill>
              </a:rPr>
              <a:t>Could fix</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690EB14A942C4BB84A860582D6CA8E" ma:contentTypeVersion="12" ma:contentTypeDescription="Create a new document." ma:contentTypeScope="" ma:versionID="38d632b360086c37a7c9d57d1259ee86">
  <xsd:schema xmlns:xsd="http://www.w3.org/2001/XMLSchema" xmlns:xs="http://www.w3.org/2001/XMLSchema" xmlns:p="http://schemas.microsoft.com/office/2006/metadata/properties" xmlns:ns2="6b2a0723-b536-46d5-8e64-9fabbe9a5b8d" xmlns:ns3="3a170fab-086f-482b-966f-26f72a54d0a4" targetNamespace="http://schemas.microsoft.com/office/2006/metadata/properties" ma:root="true" ma:fieldsID="0a372923293edb07f769b03358a47594" ns2:_="" ns3:_="">
    <xsd:import namespace="6b2a0723-b536-46d5-8e64-9fabbe9a5b8d"/>
    <xsd:import namespace="3a170fab-086f-482b-966f-26f72a54d0a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2a0723-b536-46d5-8e64-9fabbe9a5b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170fab-086f-482b-966f-26f72a54d0a4"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ed236272-8e5a-42a2-bc36-d6b6bdea1074}" ma:internalName="TaxCatchAll" ma:showField="CatchAllData" ma:web="3a170fab-086f-482b-966f-26f72a54d0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b2a0723-b536-46d5-8e64-9fabbe9a5b8d">
      <Terms xmlns="http://schemas.microsoft.com/office/infopath/2007/PartnerControls"/>
    </lcf76f155ced4ddcb4097134ff3c332f>
    <TaxCatchAll xmlns="3a170fab-086f-482b-966f-26f72a54d0a4" xsi:nil="true"/>
  </documentManagement>
</p:properties>
</file>

<file path=customXml/itemProps1.xml><?xml version="1.0" encoding="utf-8"?>
<ds:datastoreItem xmlns:ds="http://schemas.openxmlformats.org/officeDocument/2006/customXml" ds:itemID="{72F20DF2-8FA2-4BA6-8B8D-3E8C70096795}">
  <ds:schemaRefs>
    <ds:schemaRef ds:uri="3a170fab-086f-482b-966f-26f72a54d0a4"/>
    <ds:schemaRef ds:uri="6b2a0723-b536-46d5-8e64-9fabbe9a5b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4AD7B35-5793-4AE7-BA99-E08975BB0802}">
  <ds:schemaRefs>
    <ds:schemaRef ds:uri="http://schemas.microsoft.com/sharepoint/v3/contenttype/forms"/>
  </ds:schemaRefs>
</ds:datastoreItem>
</file>

<file path=customXml/itemProps3.xml><?xml version="1.0" encoding="utf-8"?>
<ds:datastoreItem xmlns:ds="http://schemas.openxmlformats.org/officeDocument/2006/customXml" ds:itemID="{EF952E39-9040-4F4B-BEB9-793E11849CC5}">
  <ds:schemaRefs>
    <ds:schemaRef ds:uri="3a170fab-086f-482b-966f-26f72a54d0a4"/>
    <ds:schemaRef ds:uri="6b2a0723-b536-46d5-8e64-9fabbe9a5b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CG Grid 16:9</Template>
  <Application>Microsoft Office PowerPoint</Application>
  <PresentationFormat>Widescreen</PresentationFormat>
  <Slides>4</Slides>
  <Notes>4</Notes>
  <HiddenSlides>1</HiddenSlide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BCG Grid 16:9</vt:lpstr>
      <vt:lpstr>Usability testing resul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sada, Veronica</dc:creator>
  <cp:revision>1</cp:revision>
  <cp:lastPrinted>2016-04-06T18:59:25Z</cp:lastPrinted>
  <dcterms:created xsi:type="dcterms:W3CDTF">2024-05-31T20:01:12Z</dcterms:created>
  <dcterms:modified xsi:type="dcterms:W3CDTF">2024-05-31T20:3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5-31T20:10:2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5c04339-e25c-4f32-a2cb-ff6d40d30c42</vt:lpwstr>
  </property>
  <property fmtid="{D5CDD505-2E9C-101B-9397-08002B2CF9AE}" pid="13" name="MSIP_Label_b0d5c4f4-7a29-4385-b7a5-afbe2154ae6f_ContentBits">
    <vt:lpwstr>0</vt:lpwstr>
  </property>
  <property fmtid="{D5CDD505-2E9C-101B-9397-08002B2CF9AE}" pid="14" name="ContentTypeId">
    <vt:lpwstr>0x0101009A690EB14A942C4BB84A860582D6CA8E</vt:lpwstr>
  </property>
  <property fmtid="{D5CDD505-2E9C-101B-9397-08002B2CF9AE}" pid="15" name="MediaServiceImageTags">
    <vt:lpwstr/>
  </property>
</Properties>
</file>